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481" r:id="rId4"/>
  </p:sldMasterIdLst>
  <p:notesMasterIdLst>
    <p:notesMasterId r:id="rId6"/>
  </p:notesMasterIdLst>
  <p:handoutMasterIdLst>
    <p:handoutMasterId r:id="rId7"/>
  </p:handoutMasterIdLst>
  <p:sldIdLst>
    <p:sldId id="1008" r:id="rId5"/>
  </p:sldIdLst>
  <p:sldSz cx="9144000" cy="6858000" type="screen4x3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84" userDrawn="1">
          <p15:clr>
            <a:srgbClr val="A4A3A4"/>
          </p15:clr>
        </p15:guide>
        <p15:guide id="2" pos="4968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1032" userDrawn="1">
          <p15:clr>
            <a:srgbClr val="A4A3A4"/>
          </p15:clr>
        </p15:guide>
        <p15:guide id="6" orient="horz" pos="1008" userDrawn="1">
          <p15:clr>
            <a:srgbClr val="A4A3A4"/>
          </p15:clr>
        </p15:guide>
        <p15:guide id="7" orient="horz" pos="480" userDrawn="1">
          <p15:clr>
            <a:srgbClr val="A4A3A4"/>
          </p15:clr>
        </p15:guide>
        <p15:guide id="8" pos="5280" userDrawn="1">
          <p15:clr>
            <a:srgbClr val="A4A3A4"/>
          </p15:clr>
        </p15:guide>
        <p15:guide id="9" pos="5208" userDrawn="1">
          <p15:clr>
            <a:srgbClr val="A4A3A4"/>
          </p15:clr>
        </p15:guide>
        <p15:guide id="10" orient="horz" pos="2496" userDrawn="1">
          <p15:clr>
            <a:srgbClr val="A4A3A4"/>
          </p15:clr>
        </p15:guide>
        <p15:guide id="11" orient="horz" pos="2976" userDrawn="1">
          <p15:clr>
            <a:srgbClr val="A4A3A4"/>
          </p15:clr>
        </p15:guide>
        <p15:guide id="12" pos="5376" userDrawn="1">
          <p15:clr>
            <a:srgbClr val="A4A3A4"/>
          </p15:clr>
        </p15:guide>
        <p15:guide id="13" orient="horz" pos="720" userDrawn="1">
          <p15:clr>
            <a:srgbClr val="A4A3A4"/>
          </p15:clr>
        </p15:guide>
        <p15:guide id="14" orient="horz" pos="2832" userDrawn="1">
          <p15:clr>
            <a:srgbClr val="A4A3A4"/>
          </p15:clr>
        </p15:guide>
        <p15:guide id="15" pos="779" userDrawn="1">
          <p15:clr>
            <a:srgbClr val="A4A3A4"/>
          </p15:clr>
        </p15:guide>
        <p15:guide id="16" pos="588" userDrawn="1">
          <p15:clr>
            <a:srgbClr val="A4A3A4"/>
          </p15:clr>
        </p15:guide>
        <p15:guide id="17" orient="horz" pos="1843">
          <p15:clr>
            <a:srgbClr val="A4A3A4"/>
          </p15:clr>
        </p15:guide>
        <p15:guide id="18" orient="horz" pos="1341">
          <p15:clr>
            <a:srgbClr val="A4A3A4"/>
          </p15:clr>
        </p15:guide>
        <p15:guide id="19" orient="horz" pos="814">
          <p15:clr>
            <a:srgbClr val="A4A3A4"/>
          </p15:clr>
        </p15:guide>
        <p15:guide id="20" orient="horz" pos="2402">
          <p15:clr>
            <a:srgbClr val="A4A3A4"/>
          </p15:clr>
        </p15:guide>
        <p15:guide id="21" orient="horz" pos="2940">
          <p15:clr>
            <a:srgbClr val="A4A3A4"/>
          </p15:clr>
        </p15:guide>
        <p15:guide id="22" orient="horz" pos="719">
          <p15:clr>
            <a:srgbClr val="A4A3A4"/>
          </p15:clr>
        </p15:guide>
        <p15:guide id="23" orient="horz" pos="3951">
          <p15:clr>
            <a:srgbClr val="A4A3A4"/>
          </p15:clr>
        </p15:guide>
        <p15:guide id="24" pos="2916">
          <p15:clr>
            <a:srgbClr val="A4A3A4"/>
          </p15:clr>
        </p15:guide>
        <p15:guide id="25" pos="174">
          <p15:clr>
            <a:srgbClr val="A4A3A4"/>
          </p15:clr>
        </p15:guide>
        <p15:guide id="26">
          <p15:clr>
            <a:srgbClr val="A4A3A4"/>
          </p15:clr>
        </p15:guide>
        <p15:guide id="27" pos="5622">
          <p15:clr>
            <a:srgbClr val="A4A3A4"/>
          </p15:clr>
        </p15:guide>
        <p15:guide id="28" pos="4271">
          <p15:clr>
            <a:srgbClr val="A4A3A4"/>
          </p15:clr>
        </p15:guide>
        <p15:guide id="29" pos="1548">
          <p15:clr>
            <a:srgbClr val="A4A3A4"/>
          </p15:clr>
        </p15:guide>
        <p15:guide id="30" pos="2069">
          <p15:clr>
            <a:srgbClr val="A4A3A4"/>
          </p15:clr>
        </p15:guide>
        <p15:guide id="31" orient="horz" pos="647">
          <p15:clr>
            <a:srgbClr val="A4A3A4"/>
          </p15:clr>
        </p15:guide>
        <p15:guide id="32" orient="horz" pos="2503">
          <p15:clr>
            <a:srgbClr val="A4A3A4"/>
          </p15:clr>
        </p15:guide>
        <p15:guide id="33" orient="horz" pos="1806">
          <p15:clr>
            <a:srgbClr val="A4A3A4"/>
          </p15:clr>
        </p15:guide>
        <p15:guide id="34" orient="horz" pos="3182">
          <p15:clr>
            <a:srgbClr val="A4A3A4"/>
          </p15:clr>
        </p15:guide>
        <p15:guide id="35" orient="horz" pos="4262">
          <p15:clr>
            <a:srgbClr val="A4A3A4"/>
          </p15:clr>
        </p15:guide>
        <p15:guide id="36" pos="2120">
          <p15:clr>
            <a:srgbClr val="A4A3A4"/>
          </p15:clr>
        </p15:guide>
        <p15:guide id="37" pos="4969">
          <p15:clr>
            <a:srgbClr val="A4A3A4"/>
          </p15:clr>
        </p15:guide>
        <p15:guide id="38" pos="1780">
          <p15:clr>
            <a:srgbClr val="A4A3A4"/>
          </p15:clr>
        </p15:guide>
        <p15:guide id="39" orient="horz" pos="2176">
          <p15:clr>
            <a:srgbClr val="A4A3A4"/>
          </p15:clr>
        </p15:guide>
        <p15:guide id="40" orient="horz" pos="2819">
          <p15:clr>
            <a:srgbClr val="A4A3A4"/>
          </p15:clr>
        </p15:guide>
        <p15:guide id="41" orient="horz" pos="1248">
          <p15:clr>
            <a:srgbClr val="A4A3A4"/>
          </p15:clr>
        </p15:guide>
        <p15:guide id="42" orient="horz" pos="1444">
          <p15:clr>
            <a:srgbClr val="A4A3A4"/>
          </p15:clr>
        </p15:guide>
        <p15:guide id="43" orient="horz" pos="729">
          <p15:clr>
            <a:srgbClr val="A4A3A4"/>
          </p15:clr>
        </p15:guide>
        <p15:guide id="44" orient="horz" pos="1902">
          <p15:clr>
            <a:srgbClr val="A4A3A4"/>
          </p15:clr>
        </p15:guide>
        <p15:guide id="45" orient="horz" pos="731">
          <p15:clr>
            <a:srgbClr val="A4A3A4"/>
          </p15:clr>
        </p15:guide>
        <p15:guide id="46" orient="horz" pos="2873">
          <p15:clr>
            <a:srgbClr val="A4A3A4"/>
          </p15:clr>
        </p15:guide>
        <p15:guide id="47" orient="horz" pos="630">
          <p15:clr>
            <a:srgbClr val="A4A3A4"/>
          </p15:clr>
        </p15:guide>
        <p15:guide id="48" pos="385">
          <p15:clr>
            <a:srgbClr val="A4A3A4"/>
          </p15:clr>
        </p15:guide>
        <p15:guide id="49" orient="horz" pos="639">
          <p15:clr>
            <a:srgbClr val="A4A3A4"/>
          </p15:clr>
        </p15:guide>
        <p15:guide id="50" orient="horz" pos="661">
          <p15:clr>
            <a:srgbClr val="A4A3A4"/>
          </p15:clr>
        </p15:guide>
        <p15:guide id="51" orient="horz" pos="689">
          <p15:clr>
            <a:srgbClr val="A4A3A4"/>
          </p15:clr>
        </p15:guide>
        <p15:guide id="52" orient="horz" pos="623">
          <p15:clr>
            <a:srgbClr val="A4A3A4"/>
          </p15:clr>
        </p15:guide>
        <p15:guide id="53" orient="horz" pos="3746">
          <p15:clr>
            <a:srgbClr val="A4A3A4"/>
          </p15:clr>
        </p15:guide>
        <p15:guide id="54" orient="horz" pos="672">
          <p15:clr>
            <a:srgbClr val="A4A3A4"/>
          </p15:clr>
        </p15:guide>
        <p15:guide id="55" orient="horz" pos="73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3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tup" initials="S" lastIdx="56" clrIdx="0"/>
  <p:cmAuthor id="1" name="Gencore" initials="G" lastIdx="1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0000FF"/>
    <a:srgbClr val="D3D3D3"/>
    <a:srgbClr val="F2F2F2"/>
    <a:srgbClr val="FFFFFF"/>
    <a:srgbClr val="000000"/>
    <a:srgbClr val="D0EBF0"/>
    <a:srgbClr val="C5E6ED"/>
    <a:srgbClr val="D7D7D7"/>
    <a:srgbClr val="D1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6544" autoAdjust="0"/>
    <p:restoredTop sz="96586" autoAdjust="0"/>
  </p:normalViewPr>
  <p:slideViewPr>
    <p:cSldViewPr snapToGrid="0" showGuides="1">
      <p:cViewPr>
        <p:scale>
          <a:sx n="70" d="100"/>
          <a:sy n="70" d="100"/>
        </p:scale>
        <p:origin x="-1248" y="-180"/>
      </p:cViewPr>
      <p:guideLst>
        <p:guide orient="horz" pos="2184"/>
        <p:guide orient="horz" pos="1032"/>
        <p:guide orient="horz" pos="1008"/>
        <p:guide orient="horz" pos="480"/>
        <p:guide orient="horz" pos="2496"/>
        <p:guide orient="horz" pos="2976"/>
        <p:guide orient="horz" pos="720"/>
        <p:guide orient="horz" pos="2832"/>
        <p:guide orient="horz" pos="1843"/>
        <p:guide orient="horz" pos="1341"/>
        <p:guide orient="horz" pos="814"/>
        <p:guide orient="horz" pos="2402"/>
        <p:guide orient="horz" pos="2940"/>
        <p:guide orient="horz" pos="719"/>
        <p:guide orient="horz" pos="3951"/>
        <p:guide orient="horz" pos="647"/>
        <p:guide orient="horz" pos="2503"/>
        <p:guide orient="horz" pos="1806"/>
        <p:guide orient="horz" pos="3182"/>
        <p:guide orient="horz" pos="4262"/>
        <p:guide orient="horz" pos="2176"/>
        <p:guide orient="horz" pos="2819"/>
        <p:guide orient="horz" pos="1248"/>
        <p:guide orient="horz" pos="1444"/>
        <p:guide orient="horz" pos="729"/>
        <p:guide orient="horz" pos="1902"/>
        <p:guide orient="horz" pos="731"/>
        <p:guide orient="horz" pos="2873"/>
        <p:guide orient="horz" pos="630"/>
        <p:guide orient="horz" pos="639"/>
        <p:guide orient="horz" pos="661"/>
        <p:guide orient="horz" pos="689"/>
        <p:guide orient="horz" pos="623"/>
        <p:guide orient="horz" pos="3746"/>
        <p:guide orient="horz" pos="672"/>
        <p:guide orient="horz" pos="737"/>
        <p:guide pos="4968"/>
        <p:guide pos="360"/>
        <p:guide pos="384"/>
        <p:guide pos="5280"/>
        <p:guide pos="5208"/>
        <p:guide pos="5376"/>
        <p:guide pos="779"/>
        <p:guide pos="588"/>
        <p:guide pos="2916"/>
        <p:guide pos="174"/>
        <p:guide/>
        <p:guide pos="5622"/>
        <p:guide pos="4271"/>
        <p:guide pos="1548"/>
        <p:guide pos="2069"/>
        <p:guide pos="2120"/>
        <p:guide pos="4969"/>
        <p:guide pos="1780"/>
        <p:guide pos="385"/>
      </p:guideLst>
    </p:cSldViewPr>
  </p:slideViewPr>
  <p:outlineViewPr>
    <p:cViewPr>
      <p:scale>
        <a:sx n="33" d="100"/>
        <a:sy n="33" d="100"/>
      </p:scale>
      <p:origin x="0" y="122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3468" y="54"/>
      </p:cViewPr>
      <p:guideLst>
        <p:guide orient="horz" pos="2933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EDB1D8-FFB1-439D-BE6B-A17F8C7CCFB1}" type="datetimeFigureOut">
              <a:rPr lang="en-US" smtClean="0"/>
              <a:t>9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471"/>
            <a:ext cx="3037840" cy="464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30471"/>
            <a:ext cx="3037840" cy="464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918BC-A008-45D6-8E1B-FDFF5E13B0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783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145" cy="464205"/>
          </a:xfrm>
          <a:prstGeom prst="rect">
            <a:avLst/>
          </a:prstGeom>
        </p:spPr>
        <p:txBody>
          <a:bodyPr vert="horz" lIns="87407" tIns="43704" rIns="87407" bIns="43704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1"/>
            <a:ext cx="3038145" cy="464205"/>
          </a:xfrm>
          <a:prstGeom prst="rect">
            <a:avLst/>
          </a:prstGeom>
        </p:spPr>
        <p:txBody>
          <a:bodyPr vert="horz" lIns="87407" tIns="43704" rIns="87407" bIns="43704" rtlCol="0"/>
          <a:lstStyle>
            <a:lvl1pPr algn="r">
              <a:defRPr sz="1100"/>
            </a:lvl1pPr>
          </a:lstStyle>
          <a:p>
            <a:fld id="{984E29C5-33BA-4A8E-9FA6-A43376156FE7}" type="datetimeFigureOut">
              <a:rPr lang="en-US" smtClean="0"/>
              <a:t>9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9788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07" tIns="43704" rIns="87407" bIns="437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5" y="4416098"/>
            <a:ext cx="5607712" cy="4182458"/>
          </a:xfrm>
          <a:prstGeom prst="rect">
            <a:avLst/>
          </a:prstGeom>
        </p:spPr>
        <p:txBody>
          <a:bodyPr vert="horz" lIns="87407" tIns="43704" rIns="87407" bIns="4370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0659"/>
            <a:ext cx="3038145" cy="464205"/>
          </a:xfrm>
          <a:prstGeom prst="rect">
            <a:avLst/>
          </a:prstGeom>
        </p:spPr>
        <p:txBody>
          <a:bodyPr vert="horz" lIns="87407" tIns="43704" rIns="87407" bIns="43704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</p:spPr>
        <p:txBody>
          <a:bodyPr vert="horz" lIns="87407" tIns="43704" rIns="87407" bIns="43704" rtlCol="0" anchor="b"/>
          <a:lstStyle>
            <a:lvl1pPr algn="r">
              <a:defRPr sz="1100"/>
            </a:lvl1pPr>
          </a:lstStyle>
          <a:p>
            <a:fld id="{2E1F9AB6-6D64-427E-A5C9-6DA3C2B7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161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DE059669-D665-4EC3-AAD3-76458BA39420" descr="AE5E8382-2306-409F-AEAD-CB65EA6A496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96" y="6400800"/>
            <a:ext cx="3279648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73839" y="5238951"/>
            <a:ext cx="8595360" cy="369332"/>
          </a:xfrm>
        </p:spPr>
        <p:txBody>
          <a:bodyPr anchor="b"/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3839" y="5654004"/>
            <a:ext cx="5441161" cy="518196"/>
          </a:xfrm>
        </p:spPr>
        <p:txBody>
          <a:bodyPr anchor="t">
            <a:noAutofit/>
          </a:bodyPr>
          <a:lstStyle>
            <a:lvl1pPr>
              <a:defRPr sz="180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4876800"/>
            <a:ext cx="9144000" cy="3048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GP_LD_LOGO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5174" y="6248400"/>
            <a:ext cx="2494026" cy="389763"/>
          </a:xfrm>
          <a:prstGeom prst="rect">
            <a:avLst/>
          </a:prstGeom>
        </p:spPr>
      </p:pic>
      <p:pic>
        <p:nvPicPr>
          <p:cNvPr id="11" name="Picture 10" descr="Generating Impact_YELLOW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4928616"/>
            <a:ext cx="2088490" cy="22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857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with Black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93482" y="17522"/>
            <a:ext cx="6399474" cy="276999"/>
          </a:xfrm>
          <a:noFill/>
        </p:spPr>
        <p:txBody>
          <a:bodyPr wrap="square" lIns="45720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19986" y="457200"/>
            <a:ext cx="8761674" cy="1047750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4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2425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93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35399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93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320" y="1600200"/>
            <a:ext cx="8595360" cy="4572000"/>
          </a:xfrm>
        </p:spPr>
        <p:txBody>
          <a:bodyPr/>
          <a:lstStyle>
            <a:lvl1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1pPr>
            <a:lvl2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2pPr>
            <a:lvl3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3pPr>
            <a:lvl4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4pPr>
            <a:lvl5pPr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3524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320" y="1600200"/>
            <a:ext cx="8595360" cy="457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b="0" i="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3524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" y="1122363"/>
            <a:ext cx="8595360" cy="2387600"/>
          </a:xfrm>
        </p:spPr>
        <p:txBody>
          <a:bodyPr anchor="b">
            <a:normAutofit/>
          </a:bodyPr>
          <a:lstStyle>
            <a:lvl1pPr algn="ctr">
              <a:defRPr sz="4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" y="3602038"/>
            <a:ext cx="8595360" cy="1655762"/>
          </a:xfrm>
        </p:spPr>
        <p:txBody>
          <a:bodyPr/>
          <a:lstStyle>
            <a:lvl1pPr marL="0" indent="0" algn="ctr">
              <a:buNone/>
              <a:defRPr sz="240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776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3050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64711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>
            <a:lvl1pPr>
              <a:defRPr b="0" i="0">
                <a:latin typeface="Calibri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21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3050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64711" y="1600200"/>
            <a:ext cx="4206240" cy="45688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73050" y="365127"/>
            <a:ext cx="8597901" cy="93789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2901" y="990600"/>
            <a:ext cx="8610600" cy="457200"/>
          </a:xfrm>
        </p:spPr>
        <p:txBody>
          <a:bodyPr/>
          <a:lstStyle>
            <a:lvl1pPr>
              <a:defRPr sz="2000" cap="all" baseline="0"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2ND LINE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21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index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30144"/>
            <a:ext cx="6508750" cy="294521"/>
          </a:xfrm>
          <a:noFill/>
        </p:spPr>
        <p:txBody>
          <a:bodyPr wrap="square" lIns="0" rtlCol="0" anchor="ctr">
            <a:noAutofit/>
          </a:bodyPr>
          <a:lstStyle>
            <a:lvl1pPr>
              <a:defRPr lang="en-US" sz="1400" kern="1200" dirty="0" smtClean="0">
                <a:solidFill>
                  <a:schemeClr val="bg1"/>
                </a:solidFill>
                <a:latin typeface="Calibri Light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41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DE059669-D665-4EC3-AAD3-76458BA39420" descr="AE5E8382-2306-409F-AEAD-CB65EA6A496C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781" y="6596003"/>
            <a:ext cx="2623721" cy="14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06311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2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050" y="365127"/>
            <a:ext cx="8597901" cy="937894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051" y="1600199"/>
            <a:ext cx="8597900" cy="4568826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477000"/>
            <a:ext cx="9144000" cy="158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2"/>
          <p:cNvSpPr txBox="1">
            <a:spLocks/>
          </p:cNvSpPr>
          <p:nvPr/>
        </p:nvSpPr>
        <p:spPr>
          <a:xfrm>
            <a:off x="8534400" y="6553200"/>
            <a:ext cx="457200" cy="2392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4F94C26-2A70-4961-AAB1-3557AEA8AC57}" type="slidenum">
              <a:rPr lang="en-US" sz="9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/>
                <a:ea typeface="+mn-ea"/>
                <a:cs typeface="+mn-cs"/>
              </a:rPr>
              <a:pPr algn="r"/>
              <a:t>‹#›</a:t>
            </a:fld>
            <a:endParaRPr lang="en-US" sz="900" kern="1200" dirty="0">
              <a:solidFill>
                <a:schemeClr val="tx1">
                  <a:lumMod val="50000"/>
                  <a:lumOff val="50000"/>
                </a:schemeClr>
              </a:solidFill>
              <a:latin typeface="Calibri Light"/>
              <a:ea typeface="+mn-ea"/>
              <a:cs typeface="+mn-cs"/>
            </a:endParaRPr>
          </a:p>
        </p:txBody>
      </p:sp>
      <p:sp>
        <p:nvSpPr>
          <p:cNvPr id="12" name="Footer Placeholder 81"/>
          <p:cNvSpPr txBox="1">
            <a:spLocks noGrp="1"/>
          </p:cNvSpPr>
          <p:nvPr/>
        </p:nvSpPr>
        <p:spPr bwMode="auto">
          <a:xfrm>
            <a:off x="6674909" y="6595291"/>
            <a:ext cx="2088092" cy="19711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800" dirty="0" smtClean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© 2015</a:t>
            </a:r>
            <a:r>
              <a:rPr lang="en-US" sz="800" baseline="0" dirty="0" smtClean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800" dirty="0" smtClean="0">
                <a:solidFill>
                  <a:srgbClr val="414141"/>
                </a:solidFill>
                <a:latin typeface="Calibri Light"/>
                <a:ea typeface="Arial Unicode MS" pitchFamily="34" charset="-128"/>
                <a:cs typeface="Arial Unicode MS" pitchFamily="34" charset="-128"/>
              </a:rPr>
              <a:t>Copyright Genpact. All Rights Reserved.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381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Generating Impact_YELLOW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00584"/>
            <a:ext cx="2088490" cy="220675"/>
          </a:xfrm>
          <a:prstGeom prst="rect">
            <a:avLst/>
          </a:prstGeom>
        </p:spPr>
      </p:pic>
      <p:pic>
        <p:nvPicPr>
          <p:cNvPr id="9" name="Picture 8" descr="DOTS_LIGHT Gray_SHORT.png"/>
          <p:cNvPicPr>
            <a:picLocks noChangeAspect="1"/>
          </p:cNvPicPr>
          <p:nvPr/>
        </p:nvPicPr>
        <p:blipFill>
          <a:blip r:embed="rId19" cstate="screen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36576"/>
            <a:ext cx="4058107" cy="322174"/>
          </a:xfrm>
          <a:prstGeom prst="rect">
            <a:avLst/>
          </a:prstGeom>
        </p:spPr>
      </p:pic>
      <p:pic>
        <p:nvPicPr>
          <p:cNvPr id="6" name="Picture 5" descr="GP_GRAY_LOGO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601968"/>
            <a:ext cx="806450" cy="13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6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2" r:id="rId1"/>
    <p:sldLayoutId id="2147485483" r:id="rId2"/>
    <p:sldLayoutId id="2147485484" r:id="rId3"/>
    <p:sldLayoutId id="2147485485" r:id="rId4"/>
    <p:sldLayoutId id="2147485486" r:id="rId5"/>
    <p:sldLayoutId id="2147485487" r:id="rId6"/>
    <p:sldLayoutId id="2147485488" r:id="rId7"/>
    <p:sldLayoutId id="2147485489" r:id="rId8"/>
    <p:sldLayoutId id="2147485490" r:id="rId9"/>
    <p:sldLayoutId id="2147485465" r:id="rId10"/>
    <p:sldLayoutId id="2147485531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all" baseline="0">
          <a:solidFill>
            <a:schemeClr val="tx1">
              <a:lumMod val="75000"/>
              <a:lumOff val="25000"/>
            </a:schemeClr>
          </a:solidFill>
          <a:latin typeface="Calibri Ligh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Font typeface="Arial" panose="020B0604020202020204" pitchFamily="34" charset="0"/>
        <a:buNone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85000"/>
        <a:buFont typeface="Wingdings" panose="05000000000000000000" pitchFamily="2" charset="2"/>
        <a:buChar char="§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347663" indent="-17780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50000"/>
        <a:buFont typeface="Arial" panose="020B0604020202020204" pitchFamily="34" charset="0"/>
        <a:buChar char="–"/>
        <a:tabLst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515938" indent="-168275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Wingdings" panose="05000000000000000000" pitchFamily="2" charset="2"/>
        <a:buChar char="§"/>
        <a:defRPr sz="2200" b="0" i="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685800" indent="-169863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chemeClr val="bg2"/>
        </a:buClr>
        <a:buSzPct val="65000"/>
        <a:buFont typeface="Arial" panose="020B0604020202020204" pitchFamily="34" charset="0"/>
        <a:buChar char="–"/>
        <a:defRPr sz="2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44" userDrawn="1">
          <p15:clr>
            <a:srgbClr val="F26B43"/>
          </p15:clr>
        </p15:guide>
        <p15:guide id="4" pos="5616" userDrawn="1">
          <p15:clr>
            <a:srgbClr val="F26B43"/>
          </p15:clr>
        </p15:guide>
        <p15:guide id="5" orient="horz" pos="40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url=http://www.sic.edu/student-services/records-and-transcripts/graduation&amp;rct=j&amp;frm=1&amp;q=&amp;esrc=s&amp;sa=U&amp;ei=QiEsVfCmEcmcugSxo4DwDw&amp;ved=0CDEQ9QEwDjgo&amp;usg=AFQjCNGB5M26IswYKBFycGYLxrAXM6KB9Q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/>
        </p:nvSpPr>
        <p:spPr bwMode="auto">
          <a:xfrm>
            <a:off x="762000" y="925776"/>
            <a:ext cx="1588" cy="5486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3" name="Line 3"/>
          <p:cNvSpPr>
            <a:spLocks noChangeShapeType="1"/>
          </p:cNvSpPr>
          <p:nvPr/>
        </p:nvSpPr>
        <p:spPr bwMode="auto">
          <a:xfrm>
            <a:off x="742950" y="6412176"/>
            <a:ext cx="771525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rot="21167901" flipV="1">
            <a:off x="460104" y="1330498"/>
            <a:ext cx="6748796" cy="4638687"/>
          </a:xfrm>
          <a:prstGeom prst="line">
            <a:avLst/>
          </a:prstGeom>
          <a:noFill/>
          <a:ln w="38100">
            <a:solidFill>
              <a:srgbClr val="33339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838200" y="5650176"/>
            <a:ext cx="1828800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Who am I?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>
          <a:xfrm>
            <a:off x="318145" y="11201"/>
            <a:ext cx="6797713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US" altLang="en-U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“Heighten” </a:t>
            </a:r>
            <a:r>
              <a:rPr lang="en-US" altLang="en-U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evelopment </a:t>
            </a:r>
            <a:r>
              <a:rPr lang="en-US" altLang="en-U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Journey</a:t>
            </a:r>
            <a:endParaRPr lang="en-US" altLang="en-US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auto">
          <a:xfrm>
            <a:off x="2609164" y="3398986"/>
            <a:ext cx="1828801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HMM Online Modules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1288578" y="4745241"/>
            <a:ext cx="1828800" cy="554696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/>
            <a:r>
              <a:rPr 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Classroom Interventions</a:t>
            </a:r>
            <a:endParaRPr lang="en-US" sz="1400" b="1" i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 rot="16200000">
            <a:off x="88141" y="5681364"/>
            <a:ext cx="990600" cy="2286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r" eaLnBrk="1" hangingPunct="1"/>
            <a:r>
              <a:rPr lang="en-US" alt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Week 1 &amp; 2   </a:t>
            </a:r>
            <a:endParaRPr lang="en-US" alt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 rot="16200000">
            <a:off x="-114300" y="4392876"/>
            <a:ext cx="1371600" cy="2286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1" hangingPunct="1"/>
            <a:r>
              <a:rPr lang="en-US" alt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Week 2 </a:t>
            </a:r>
            <a:r>
              <a:rPr lang="en-US" altLang="en-US" sz="1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3 &amp; 4 </a:t>
            </a:r>
            <a:endParaRPr lang="en-US" alt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 rot="16200000">
            <a:off x="-114300" y="2931428"/>
            <a:ext cx="1371600" cy="2286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r" eaLnBrk="1" hangingPunct="1"/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alt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Week  4 &amp; 5     </a:t>
            </a:r>
            <a:endParaRPr lang="en-US" alt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 rot="16200000">
            <a:off x="-91553" y="1474528"/>
            <a:ext cx="1326105" cy="2286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r" eaLnBrk="1" hangingPunct="1"/>
            <a:r>
              <a:rPr lang="en-US" alt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Week 7 &amp; 8     </a:t>
            </a:r>
            <a:endParaRPr lang="en-US" alt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3173840" y="4725291"/>
            <a:ext cx="5284360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 </a:t>
            </a:r>
            <a:r>
              <a:rPr lang="en-US" altLang="en-US" sz="1200" dirty="0">
                <a:solidFill>
                  <a:srgbClr val="0000CC"/>
                </a:solidFill>
                <a:latin typeface="Calibri" panose="020F0502020204030204" pitchFamily="34" charset="0"/>
              </a:rPr>
              <a:t>I</a:t>
            </a: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nterventions </a:t>
            </a: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at 45 days interval</a:t>
            </a:r>
          </a:p>
          <a:p>
            <a:pPr marL="509588" lvl="2" indent="-173038">
              <a:buClr>
                <a:srgbClr val="D43539"/>
              </a:buClr>
              <a:buSzPct val="95000"/>
              <a:buBlip>
                <a:blip r:embed="rId2"/>
              </a:buBlip>
            </a:pPr>
            <a:r>
              <a:rPr lang="en-US" sz="1200" dirty="0">
                <a:solidFill>
                  <a:srgbClr val="0000CC"/>
                </a:solidFill>
                <a:latin typeface="Calibri" panose="020F0502020204030204" pitchFamily="34" charset="0"/>
              </a:rPr>
              <a:t>Making an impactful presentations</a:t>
            </a:r>
          </a:p>
          <a:p>
            <a:pPr marL="509588" lvl="2" indent="-173038">
              <a:buClr>
                <a:srgbClr val="D43539"/>
              </a:buClr>
              <a:buSzPct val="95000"/>
              <a:buBlip>
                <a:blip r:embed="rId2"/>
              </a:buBlip>
            </a:pPr>
            <a:r>
              <a:rPr lang="en-US" sz="1200" dirty="0">
                <a:solidFill>
                  <a:srgbClr val="0000CC"/>
                </a:solidFill>
                <a:latin typeface="Calibri" panose="020F0502020204030204" pitchFamily="34" charset="0"/>
              </a:rPr>
              <a:t>Result orientations</a:t>
            </a:r>
          </a:p>
          <a:p>
            <a:pPr marL="509588" lvl="2" indent="-173038">
              <a:buClr>
                <a:srgbClr val="D43539"/>
              </a:buClr>
              <a:buSzPct val="95000"/>
              <a:buBlip>
                <a:blip r:embed="rId2"/>
              </a:buBlip>
            </a:pPr>
            <a:r>
              <a:rPr lang="en-US" sz="1200" dirty="0">
                <a:solidFill>
                  <a:srgbClr val="0000CC"/>
                </a:solidFill>
                <a:latin typeface="Calibri" panose="020F0502020204030204" pitchFamily="34" charset="0"/>
              </a:rPr>
              <a:t>Learning the art of dealing with Senior leadership/ customers</a:t>
            </a:r>
          </a:p>
          <a:p>
            <a:pPr marL="509588" lvl="2" indent="-173038">
              <a:buClr>
                <a:srgbClr val="D43539"/>
              </a:buClr>
              <a:buSzPct val="95000"/>
              <a:buBlip>
                <a:blip r:embed="rId2"/>
              </a:buBlip>
            </a:pPr>
            <a:r>
              <a:rPr lang="en-US" sz="1200" dirty="0">
                <a:solidFill>
                  <a:srgbClr val="0000CC"/>
                </a:solidFill>
                <a:latin typeface="Calibri" panose="020F0502020204030204" pitchFamily="34" charset="0"/>
              </a:rPr>
              <a:t>Strategic Influencing</a:t>
            </a:r>
          </a:p>
        </p:txBody>
      </p:sp>
      <p:sp>
        <p:nvSpPr>
          <p:cNvPr id="16" name="Text Box 16"/>
          <p:cNvSpPr txBox="1">
            <a:spLocks noChangeArrowheads="1"/>
          </p:cNvSpPr>
          <p:nvPr/>
        </p:nvSpPr>
        <p:spPr bwMode="auto">
          <a:xfrm>
            <a:off x="5485251" y="2763348"/>
            <a:ext cx="34665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Each classroom intervention to be followed by a workplace action learning project</a:t>
            </a:r>
            <a:endParaRPr lang="en-US" altLang="en-US" sz="1200" b="1" dirty="0">
              <a:solidFill>
                <a:srgbClr val="0000CC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6403071" y="2046746"/>
            <a:ext cx="27136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3 group coaching interventions</a:t>
            </a:r>
          </a:p>
        </p:txBody>
      </p:sp>
      <p:sp>
        <p:nvSpPr>
          <p:cNvPr id="19" name="AutoShape 19"/>
          <p:cNvSpPr>
            <a:spLocks noChangeArrowheads="1"/>
          </p:cNvSpPr>
          <p:nvPr/>
        </p:nvSpPr>
        <p:spPr bwMode="auto">
          <a:xfrm>
            <a:off x="3416632" y="2706258"/>
            <a:ext cx="1828800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ction Learning Projects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4441376" y="1955248"/>
            <a:ext cx="1828800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Group Coaching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3" name="AutoShape 7"/>
          <p:cNvSpPr>
            <a:spLocks noChangeArrowheads="1"/>
          </p:cNvSpPr>
          <p:nvPr/>
        </p:nvSpPr>
        <p:spPr bwMode="auto">
          <a:xfrm>
            <a:off x="5062723" y="1082250"/>
            <a:ext cx="1828800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Assessment &amp; Certification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4" name="Text Box 16"/>
          <p:cNvSpPr txBox="1">
            <a:spLocks noChangeArrowheads="1"/>
          </p:cNvSpPr>
          <p:nvPr/>
        </p:nvSpPr>
        <p:spPr bwMode="auto">
          <a:xfrm>
            <a:off x="4646179" y="3415826"/>
            <a:ext cx="266188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Meeting management</a:t>
            </a:r>
            <a:endParaRPr lang="en-US" altLang="en-US" sz="1200" dirty="0" smtClean="0">
              <a:solidFill>
                <a:srgbClr val="0000CC"/>
              </a:solidFill>
              <a:latin typeface="Calibri" panose="020F0502020204030204" pitchFamily="34" charset="0"/>
            </a:endParaRPr>
          </a:p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Presentation Skills</a:t>
            </a:r>
          </a:p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Strategic Thinking</a:t>
            </a:r>
            <a:endParaRPr lang="en-US" altLang="en-US" sz="1200" dirty="0">
              <a:solidFill>
                <a:srgbClr val="0000CC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Text Box 16"/>
          <p:cNvSpPr txBox="1">
            <a:spLocks noChangeArrowheads="1"/>
          </p:cNvSpPr>
          <p:nvPr/>
        </p:nvSpPr>
        <p:spPr bwMode="auto">
          <a:xfrm>
            <a:off x="7055579" y="1036633"/>
            <a:ext cx="189619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Sharing learnings from each intervention to concluding the journey</a:t>
            </a:r>
          </a:p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Panel evaluation </a:t>
            </a:r>
          </a:p>
        </p:txBody>
      </p:sp>
      <p:pic>
        <p:nvPicPr>
          <p:cNvPr id="26" name="Picture 4" descr="https://encrypted-tbn3.gstatic.com/images?q=tbn:ANd9GcSCrkSrFonvl8-mstRLCq7Puk7HC0GDYInr7ey8RmSlXZvYvjbqP5_rpzK3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580" y="491536"/>
            <a:ext cx="771680" cy="55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Box 14"/>
          <p:cNvSpPr txBox="1">
            <a:spLocks noChangeArrowheads="1"/>
          </p:cNvSpPr>
          <p:nvPr/>
        </p:nvSpPr>
        <p:spPr bwMode="auto">
          <a:xfrm>
            <a:off x="2764976" y="5734562"/>
            <a:ext cx="51816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Inputs from Session C feedback</a:t>
            </a:r>
            <a:endParaRPr lang="en-US" altLang="en-US" sz="1200" dirty="0" smtClean="0">
              <a:solidFill>
                <a:srgbClr val="0000CC"/>
              </a:solidFill>
              <a:latin typeface="Calibri" panose="020F0502020204030204" pitchFamily="34" charset="0"/>
            </a:endParaRPr>
          </a:p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Competency </a:t>
            </a: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Assessment</a:t>
            </a:r>
            <a:endParaRPr lang="en-US" altLang="en-US" sz="1200" dirty="0">
              <a:solidFill>
                <a:srgbClr val="0000CC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AutoShape 7"/>
          <p:cNvSpPr>
            <a:spLocks noChangeArrowheads="1"/>
          </p:cNvSpPr>
          <p:nvPr/>
        </p:nvSpPr>
        <p:spPr bwMode="auto">
          <a:xfrm>
            <a:off x="1779895" y="4032026"/>
            <a:ext cx="1828801" cy="4572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  <a:prstDash val="dash"/>
          </a:ln>
          <a:effectLst>
            <a:prstShdw prst="shdw17" dist="17961" dir="2700000">
              <a:srgbClr val="0099FF">
                <a:gamma/>
                <a:shade val="60000"/>
                <a:invGamma/>
              </a:srgbClr>
            </a:prstShdw>
          </a:effectLst>
          <a:extLst/>
        </p:spPr>
        <p:txBody>
          <a:bodyPr anchor="ctr" anchorCtr="1"/>
          <a:lstStyle/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en-US" altLang="en-US" sz="1400" b="1" dirty="0" smtClean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Industry sessions</a:t>
            </a:r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 eaLnBrk="1" hangingPunct="1"/>
            <a:endParaRPr lang="en-US" altLang="en-US" sz="1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2" name="Text Box 16"/>
          <p:cNvSpPr txBox="1">
            <a:spLocks noChangeArrowheads="1"/>
          </p:cNvSpPr>
          <p:nvPr/>
        </p:nvSpPr>
        <p:spPr bwMode="auto">
          <a:xfrm>
            <a:off x="3874704" y="4156107"/>
            <a:ext cx="420476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73038" indent="-17303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577850" indent="-1206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D43539"/>
              </a:buClr>
              <a:buSzPct val="95000"/>
              <a:buFont typeface="Wingdings 3" pitchFamily="18" charset="2"/>
              <a:buBlip>
                <a:blip r:embed="rId2"/>
              </a:buBlip>
            </a:pP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Sessions by industry speakers </a:t>
            </a:r>
            <a:r>
              <a:rPr lang="en-US" altLang="en-US" sz="1200" dirty="0" smtClean="0">
                <a:solidFill>
                  <a:srgbClr val="0000CC"/>
                </a:solidFill>
                <a:latin typeface="Calibri" panose="020F0502020204030204" pitchFamily="34" charset="0"/>
              </a:rPr>
              <a:t>to promote external breathing</a:t>
            </a:r>
            <a:endParaRPr lang="en-US" altLang="en-US" sz="1200" dirty="0">
              <a:solidFill>
                <a:srgbClr val="0000CC"/>
              </a:solidFill>
              <a:latin typeface="Calibri" panose="020F050202020403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906972" y="5745712"/>
            <a:ext cx="4256950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3168556" y="4642496"/>
            <a:ext cx="4256950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782716" y="4014688"/>
            <a:ext cx="4256950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192156" y="3332288"/>
            <a:ext cx="4256950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961564" y="5745712"/>
            <a:ext cx="4256950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457111" y="1971104"/>
            <a:ext cx="2304754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800893" y="2651666"/>
            <a:ext cx="2824492" cy="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828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pact2015.9b.yellow">
  <a:themeElements>
    <a:clrScheme name="GNPT2">
      <a:dk1>
        <a:sysClr val="windowText" lastClr="000000"/>
      </a:dk1>
      <a:lt1>
        <a:sysClr val="window" lastClr="FFFFFF"/>
      </a:lt1>
      <a:dk2>
        <a:srgbClr val="F5E003"/>
      </a:dk2>
      <a:lt2>
        <a:srgbClr val="1AA2DC"/>
      </a:lt2>
      <a:accent1>
        <a:srgbClr val="00608A"/>
      </a:accent1>
      <a:accent2>
        <a:srgbClr val="905500"/>
      </a:accent2>
      <a:accent3>
        <a:srgbClr val="4C7520"/>
      </a:accent3>
      <a:accent4>
        <a:srgbClr val="F7941E"/>
      </a:accent4>
      <a:accent5>
        <a:srgbClr val="8DC63F"/>
      </a:accent5>
      <a:accent6>
        <a:srgbClr val="959697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B31143F979304AA800F6C6A670FA31" ma:contentTypeVersion="0" ma:contentTypeDescription="Create a new document." ma:contentTypeScope="" ma:versionID="d633c545a5275306dade361ed5425ab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B541B6B-D8F0-4A96-BA8F-5D26872709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0BFA61-95A4-4A34-A016-5F2E4AACE66A}">
  <ds:schemaRefs>
    <ds:schemaRef ds:uri="http://purl.org/dc/dcmitype/"/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698023E-27F6-435E-B5B5-86597F520D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enpact2015.9b.yellow</Template>
  <TotalTime>58052</TotalTime>
  <Words>115</Words>
  <Application>Microsoft Office PowerPoint</Application>
  <PresentationFormat>On-screen Show (4:3)</PresentationFormat>
  <Paragraphs>3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Genpact2015.9b.yellow</vt:lpstr>
      <vt:lpstr>think-cell Slide</vt:lpstr>
      <vt:lpstr>“Heighten” Development Journey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icaS</dc:creator>
  <cp:lastModifiedBy>Varghese, Parul</cp:lastModifiedBy>
  <cp:revision>1205</cp:revision>
  <cp:lastPrinted>2015-07-20T16:01:19Z</cp:lastPrinted>
  <dcterms:created xsi:type="dcterms:W3CDTF">2013-11-18T18:38:17Z</dcterms:created>
  <dcterms:modified xsi:type="dcterms:W3CDTF">2016-09-01T06:2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B31143F979304AA800F6C6A670FA31</vt:lpwstr>
  </property>
</Properties>
</file>